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0" r:id="rId3"/>
    <p:sldMasterId id="2147483672" r:id="rId4"/>
    <p:sldMasterId id="2147483684" r:id="rId5"/>
    <p:sldMasterId id="2147483696" r:id="rId6"/>
    <p:sldMasterId id="2147483709" r:id="rId7"/>
    <p:sldMasterId id="2147483721" r:id="rId8"/>
    <p:sldMasterId id="2147483733" r:id="rId9"/>
    <p:sldMasterId id="2147483745" r:id="rId10"/>
    <p:sldMasterId id="2147483757" r:id="rId11"/>
    <p:sldMasterId id="2147483770" r:id="rId12"/>
    <p:sldMasterId id="2147483782" r:id="rId13"/>
    <p:sldMasterId id="2147483796" r:id="rId14"/>
    <p:sldMasterId id="2147483810" r:id="rId15"/>
    <p:sldMasterId id="2147483822" r:id="rId16"/>
    <p:sldMasterId id="2147483835" r:id="rId17"/>
    <p:sldMasterId id="2147483847" r:id="rId18"/>
    <p:sldMasterId id="2147483859" r:id="rId19"/>
    <p:sldMasterId id="2147483862" r:id="rId20"/>
    <p:sldMasterId id="2147483876" r:id="rId21"/>
  </p:sldMasterIdLst>
  <p:notesMasterIdLst>
    <p:notesMasterId r:id="rId23"/>
  </p:notesMasterIdLst>
  <p:handoutMasterIdLst>
    <p:handoutMasterId r:id="rId28"/>
  </p:handoutMasterIdLst>
  <p:sldIdLst>
    <p:sldId id="1762" r:id="rId22"/>
    <p:sldId id="1772" r:id="rId24"/>
    <p:sldId id="1776" r:id="rId25"/>
    <p:sldId id="1777" r:id="rId26"/>
    <p:sldId id="1778" r:id="rId27"/>
  </p:sldIdLst>
  <p:sldSz cx="9144000" cy="6858000" type="screen4x3"/>
  <p:notesSz cx="6797675" cy="992632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62"/>
            <p14:sldId id="1776"/>
            <p14:sldId id="1777"/>
            <p14:sldId id="1778"/>
            <p14:sldId id="1772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/>
  <p:cmAuthor id="3" name="Rosatom" initials="R" lastIdx="1" clrIdx="3"/>
  <p:cmAuthor id="4" name="Титова Елена Сергеевна" initials="ТЕС" lastIdx="1" clrIdx="4"/>
  <p:cmAuthor id="5" name="nata_pravda@outlook.com" initials="n" lastIdx="2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658E"/>
    <a:srgbClr val="A3CAE7"/>
    <a:srgbClr val="ECF4FA"/>
    <a:srgbClr val="C9E0FF"/>
    <a:srgbClr val="C9EEFF"/>
    <a:srgbClr val="F0E770"/>
    <a:srgbClr val="008E40"/>
    <a:srgbClr val="A6D86E"/>
    <a:srgbClr val="B9C6FD"/>
    <a:srgbClr val="D7E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0" autoAdjust="0"/>
    <p:restoredTop sz="96244" autoAdjust="0"/>
  </p:normalViewPr>
  <p:slideViewPr>
    <p:cSldViewPr>
      <p:cViewPr>
        <p:scale>
          <a:sx n="110" d="100"/>
          <a:sy n="110" d="100"/>
        </p:scale>
        <p:origin x="-1962" y="-240"/>
      </p:cViewPr>
      <p:guideLst>
        <p:guide orient="horz" pos="2704"/>
        <p:guide pos="3107"/>
        <p:guide pos="18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33"/>
        <p:guide orient="horz" pos="3133"/>
        <p:guide pos="209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2" Type="http://schemas.openxmlformats.org/officeDocument/2006/relationships/commentAuthors" Target="commentAuthors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Master" Target="slideMasters/slideMaster2.xml"/><Relationship Id="rId29" Type="http://schemas.openxmlformats.org/officeDocument/2006/relationships/presProps" Target="presProps.xml"/><Relationship Id="rId28" Type="http://schemas.openxmlformats.org/officeDocument/2006/relationships/handoutMaster" Target="handoutMasters/handoutMaster1.xml"/><Relationship Id="rId27" Type="http://schemas.openxmlformats.org/officeDocument/2006/relationships/slide" Target="slides/slide5.xml"/><Relationship Id="rId26" Type="http://schemas.openxmlformats.org/officeDocument/2006/relationships/slide" Target="slides/slide4.xml"/><Relationship Id="rId25" Type="http://schemas.openxmlformats.org/officeDocument/2006/relationships/slide" Target="slides/slide3.xml"/><Relationship Id="rId24" Type="http://schemas.openxmlformats.org/officeDocument/2006/relationships/slide" Target="slides/slide2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6C71FB-E163-47FE-A247-7B87CE2D354A}" type="datetimeFigureOut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70FB3E-86B6-4638-862E-B03ECFD7153E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3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1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3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3648"/>
            <a:ext cx="5874010" cy="362942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9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8" y="4726976"/>
            <a:ext cx="4967531" cy="4479075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23.png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  <a:endParaRPr lang="ru-RU" sz="2400" b="1" dirty="0">
              <a:solidFill>
                <a:srgbClr val="003274"/>
              </a:solidFill>
            </a:endParaRP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38A7A69-1317-4670-9258-BE1F3A044A15}" type="datetime1">
              <a:rPr lang="ru-RU" smtClean="0"/>
            </a:fld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defTabSz="913765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3765"/>
            <a:endParaRPr lang="ru-RU" sz="1600" dirty="0">
              <a:solidFill>
                <a:srgbClr val="000000"/>
              </a:solidFill>
              <a:latin typeface="Arial" panose="020B0604020202090204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3765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 panose="020B0604020202090204"/>
              </a:rPr>
            </a:fld>
            <a:endParaRPr lang="ru-RU" sz="2200" dirty="0">
              <a:solidFill>
                <a:srgbClr val="000000"/>
              </a:solidFill>
              <a:latin typeface="Arial" panose="020B0604020202090204"/>
            </a:endParaRP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F2D06-4B28-4EB4-9F90-08B85D6AB980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399F5-BADA-4B36-AEBD-BAE89375B9F8}" type="slidenum">
              <a:rPr lang="ru-RU" smtClean="0"/>
            </a:fld>
            <a:endParaRPr lang="ru-RU" dirty="0"/>
          </a:p>
        </p:txBody>
      </p:sp>
      <p:pic>
        <p:nvPicPr>
          <p:cNvPr id="7" name="navigation8" descr="ujkm,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1F809-6532-4D22-837B-5F2507EAB8EF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8511F-4FF0-4561-891C-7BBC67922174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ED830-1BBB-45BC-B204-1BD1E33682F9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E8DE3E-B843-40C0-893B-3A35DA17BFEB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E40DF-D56A-468F-9D99-5ECEBB6053EA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C6261-8784-4175-B0D1-639E4FB629CB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3E6A-019C-4519-80A3-DC199CDCDD4A}" type="datetime1">
              <a:rPr lang="ru-RU" smtClean="0"/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7A086-8207-4EB0-B7D7-B01A4510EC13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073D8-3B08-4E3F-8E65-36CE373236AA}" type="datetime1">
              <a:rPr lang="ru-RU" smtClean="0"/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1163F-0EDC-4F72-A93E-A2C935F8D5D2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1CDA6-AEB1-42C0-9A5F-55E6EA5CD6FE}" type="datetime1">
              <a:rPr lang="ru-RU" smtClean="0"/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C6D37-E8F6-4C99-9F02-69FD41AF53A8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C6A24-F428-47B5-8CD5-F95B8372AD94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AAA3-85AE-4CF3-8989-3FA4DE00E454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5C353-A132-4C4E-A23F-5E008E9AB163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81A8A-945F-4D77-B3CF-19AF399A42E1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4C144-FA45-4983-B864-46D2F3CCFECD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FC9BE-8BCA-48DE-AA40-78DDD1DDBFA0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8BE43-CDC8-4A1D-9202-20DC25374369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/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1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2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102.xml"/><Relationship Id="rId17" Type="http://schemas.openxmlformats.org/officeDocument/2006/relationships/theme" Target="../theme/theme1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1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6" Type="http://schemas.openxmlformats.org/officeDocument/2006/relationships/theme" Target="../theme/theme1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5.xml"/><Relationship Id="rId18" Type="http://schemas.openxmlformats.org/officeDocument/2006/relationships/theme" Target="../theme/theme12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24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8" Type="http://schemas.openxmlformats.org/officeDocument/2006/relationships/theme" Target="../theme/theme13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37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1.xml"/><Relationship Id="rId16" Type="http://schemas.openxmlformats.org/officeDocument/2006/relationships/theme" Target="../theme/theme1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0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62.xml"/><Relationship Id="rId17" Type="http://schemas.openxmlformats.org/officeDocument/2006/relationships/theme" Target="../theme/theme1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1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6" Type="http://schemas.openxmlformats.org/officeDocument/2006/relationships/theme" Target="../theme/theme1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7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5.xml"/><Relationship Id="rId16" Type="http://schemas.openxmlformats.org/officeDocument/2006/relationships/theme" Target="../theme/theme1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8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heme" Target="../theme/theme18.xml"/><Relationship Id="rId8" Type="http://schemas.openxmlformats.org/officeDocument/2006/relationships/vmlDrawing" Target="../drawings/vmlDrawing2.vml"/><Relationship Id="rId7" Type="http://schemas.openxmlformats.org/officeDocument/2006/relationships/image" Target="../media/image26.png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98.xml"/><Relationship Id="rId14" Type="http://schemas.openxmlformats.org/officeDocument/2006/relationships/theme" Target="../theme/theme19.xml"/><Relationship Id="rId13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9.jpeg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8.xml"/><Relationship Id="rId8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11.xml"/><Relationship Id="rId17" Type="http://schemas.openxmlformats.org/officeDocument/2006/relationships/theme" Target="../theme/theme2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30.png"/><Relationship Id="rId13" Type="http://schemas.openxmlformats.org/officeDocument/2006/relationships/image" Target="../media/image29.jpeg"/><Relationship Id="rId12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0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7" Type="http://schemas.openxmlformats.org/officeDocument/2006/relationships/theme" Target="../theme/theme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9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 panose="020B0604020202090204"/>
              </a:rPr>
            </a:fld>
            <a:endParaRPr lang="ru-RU" dirty="0">
              <a:latin typeface="Arial" panose="020B0604020202090204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65"/>
            <a:r>
              <a:rPr lang="ru-RU" sz="1400" dirty="0">
                <a:solidFill>
                  <a:srgbClr val="808080"/>
                </a:solidFill>
                <a:latin typeface="Arial" panose="020B0604020202090204"/>
              </a:rPr>
              <a:t>TRACKER</a:t>
            </a:r>
            <a:endParaRPr lang="ru-RU" sz="1400" dirty="0">
              <a:solidFill>
                <a:srgbClr val="808080"/>
              </a:solidFill>
              <a:latin typeface="Arial" panose="020B0604020202090204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1 Сноска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665" indent="-621665" defTabSz="913130">
              <a:tabLst>
                <a:tab pos="62484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65"/>
              <a:r>
                <a:rPr lang="ru-RU" sz="1600" b="1" dirty="0">
                  <a:solidFill>
                    <a:srgbClr val="000000"/>
                  </a:solidFill>
                  <a:latin typeface="Arial" panose="020B0604020202090204"/>
                </a:rPr>
                <a:t>Title</a:t>
              </a:r>
              <a:endParaRPr lang="ru-RU" sz="1600" b="1" dirty="0">
                <a:solidFill>
                  <a:srgbClr val="000000"/>
                </a:solidFill>
                <a:latin typeface="Arial" panose="020B0604020202090204"/>
              </a:endParaRPr>
            </a:p>
            <a:p>
              <a:pPr defTabSz="913765"/>
              <a:r>
                <a:rPr lang="ru-RU" sz="1600" dirty="0">
                  <a:solidFill>
                    <a:srgbClr val="808080"/>
                  </a:solidFill>
                  <a:latin typeface="Arial" panose="020B0604020202090204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panose="020B0604020202090204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36385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5pPr>
      <a:lvl6pPr marL="46609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7pPr>
      <a:lvl8pPr marL="139890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9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6090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9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0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2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1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3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2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489EB0-6CFC-4E12-B545-E965AC2D09E1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A663EA52-884A-401B-9C0B-BA7D6E6232EC}" type="slidenum">
              <a:rPr lang="ru-RU"/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98AFEC57-EB06-4D59-A7D0-215126966E20}" type="slidenum">
              <a:rPr lang="ru-RU"/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3.xml"/><Relationship Id="rId1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203.xml"/><Relationship Id="rId4" Type="http://schemas.openxmlformats.org/officeDocument/2006/relationships/image" Target="../media/image33.jpeg"/><Relationship Id="rId3" Type="http://schemas.openxmlformats.org/officeDocument/2006/relationships/image" Target="../media/image32.png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03.xml"/><Relationship Id="rId4" Type="http://schemas.openxmlformats.org/officeDocument/2006/relationships/image" Target="../media/image35.png"/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03.xml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20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3" Type="http://schemas.openxmlformats.org/officeDocument/2006/relationships/image" Target="../media/image36.jpeg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2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2910" y="2357430"/>
            <a:ext cx="7929618" cy="35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ru-RU" sz="3600" b="1" dirty="0">
                <a:solidFill>
                  <a:srgbClr val="2E658E"/>
                </a:solidFill>
              </a:rPr>
              <a:t>Эффективный регион</a:t>
            </a:r>
            <a:endParaRPr lang="ru-RU" sz="3600" b="1" dirty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endParaRPr lang="ru-RU" sz="2400" b="1" dirty="0" smtClean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rgbClr val="2E658E"/>
                </a:solidFill>
              </a:rPr>
              <a:t>ОКУ «Центр занятости населения</a:t>
            </a:r>
            <a:endParaRPr lang="ru-RU" sz="2400" b="1" dirty="0" smtClean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rgbClr val="2E658E"/>
                </a:solidFill>
              </a:rPr>
              <a:t>города Щигры и </a:t>
            </a:r>
            <a:r>
              <a:rPr lang="ru-RU" sz="2400" b="1" dirty="0" err="1" smtClean="0">
                <a:solidFill>
                  <a:srgbClr val="2E658E"/>
                </a:solidFill>
              </a:rPr>
              <a:t>Щигровского</a:t>
            </a:r>
            <a:r>
              <a:rPr lang="ru-RU" sz="2400" b="1" dirty="0" smtClean="0">
                <a:solidFill>
                  <a:srgbClr val="2E658E"/>
                </a:solidFill>
              </a:rPr>
              <a:t> района»</a:t>
            </a:r>
            <a:endParaRPr lang="ru-RU" sz="2400" b="1" dirty="0">
              <a:solidFill>
                <a:srgbClr val="2E658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6248" y="6286520"/>
            <a:ext cx="998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021 </a:t>
            </a:r>
            <a:r>
              <a:rPr lang="ru-RU" sz="1600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од</a:t>
            </a:r>
            <a:endParaRPr lang="ru-RU" sz="1600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358" y="548680"/>
            <a:ext cx="1987284" cy="230425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/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Picture 4110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21" name="Прямоугольник 2"/>
          <p:cNvSpPr/>
          <p:nvPr/>
        </p:nvSpPr>
        <p:spPr bwMode="auto">
          <a:xfrm>
            <a:off x="288922" y="1205307"/>
            <a:ext cx="4145575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 sz="1300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22" name="Прямоугольник 17"/>
          <p:cNvSpPr/>
          <p:nvPr/>
        </p:nvSpPr>
        <p:spPr bwMode="auto">
          <a:xfrm>
            <a:off x="288922" y="3626853"/>
            <a:ext cx="4140202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23" name="Прямоугольник 21"/>
          <p:cNvSpPr/>
          <p:nvPr/>
        </p:nvSpPr>
        <p:spPr bwMode="auto">
          <a:xfrm>
            <a:off x="4528068" y="1204431"/>
            <a:ext cx="4293160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endParaRPr lang="ru-RU" sz="9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родолжительный период определения даты, времени и места проведения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ый период подбора участников ярмарки и уточнения категорий участников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Избыточное число взаимодействий заявителя со специалистами ЦЗН от момента подачи заявления до получения результата</a:t>
            </a:r>
            <a:endParaRPr lang="ru-RU" sz="1000" dirty="0">
              <a:solidFill>
                <a:srgbClr val="003274">
                  <a:lumMod val="75000"/>
                </a:srgb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4" name="Прямоугольник 22"/>
          <p:cNvSpPr/>
          <p:nvPr/>
        </p:nvSpPr>
        <p:spPr bwMode="auto">
          <a:xfrm>
            <a:off x="4567004" y="3626852"/>
            <a:ext cx="4293160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25" name="TextBox 19"/>
          <p:cNvSpPr/>
          <p:nvPr/>
        </p:nvSpPr>
        <p:spPr bwMode="auto">
          <a:xfrm>
            <a:off x="4563866" y="3661744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4</a:t>
            </a: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Ключевые события (КС) 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26" name="TextBox 20"/>
          <p:cNvSpPr/>
          <p:nvPr/>
        </p:nvSpPr>
        <p:spPr bwMode="auto">
          <a:xfrm>
            <a:off x="323528" y="3661745"/>
            <a:ext cx="4108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3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u="sng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ели и плановый эффект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29" name="TextBox 16"/>
          <p:cNvSpPr/>
          <p:nvPr/>
        </p:nvSpPr>
        <p:spPr bwMode="auto">
          <a:xfrm>
            <a:off x="4540411" y="1241389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en-US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2</a:t>
            </a: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Обоснование выбор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44" name="TextBox 23"/>
          <p:cNvSpPr/>
          <p:nvPr/>
        </p:nvSpPr>
        <p:spPr bwMode="auto">
          <a:xfrm>
            <a:off x="255889" y="1258488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1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Вовлеченные лица и рамки проект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45" name="TextBox 65"/>
          <p:cNvSpPr txBox="1">
            <a:spLocks noChangeArrowheads="1"/>
          </p:cNvSpPr>
          <p:nvPr/>
        </p:nvSpPr>
        <p:spPr bwMode="auto">
          <a:xfrm>
            <a:off x="279514" y="1603762"/>
            <a:ext cx="4189875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Заказчик</a:t>
            </a:r>
            <a:r>
              <a:rPr lang="en-US" altLang="ru-RU" sz="1000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 panose="020B0604020202090204"/>
              </a:rPr>
              <a:t>: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КУ «ЦЗН города Щигры и Щигровского района» </a:t>
            </a:r>
            <a:endParaRPr lang="ru-RU" alt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6" name="TextBox 65"/>
          <p:cNvSpPr txBox="1">
            <a:spLocks noChangeArrowheads="1"/>
          </p:cNvSpPr>
          <p:nvPr/>
        </p:nvSpPr>
        <p:spPr bwMode="auto">
          <a:xfrm>
            <a:off x="293875" y="2728725"/>
            <a:ext cx="418987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Команда 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: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рошева Н.А., Лунева Н.А., Перелыгина Е.Ю.</a:t>
            </a:r>
            <a:endParaRPr lang="ru-RU" alt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7" name="TextBox 65"/>
          <p:cNvSpPr txBox="1">
            <a:spLocks noChangeArrowheads="1"/>
          </p:cNvSpPr>
          <p:nvPr/>
        </p:nvSpPr>
        <p:spPr bwMode="auto">
          <a:xfrm>
            <a:off x="290002" y="1972178"/>
            <a:ext cx="4203173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Периметр 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 panose="020B0604020202090204"/>
              </a:rPr>
              <a:t>:</a:t>
            </a:r>
            <a:r>
              <a:rPr lang="ru-RU" altLang="ru-RU" sz="1000" b="0" u="none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КУ «ЦЗН города Щигры и Щигровского района» </a:t>
            </a:r>
            <a:endParaRPr lang="ru-RU" altLang="ru-RU" sz="1000" b="0" u="none" kern="0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8" name="TextBox 65"/>
          <p:cNvSpPr txBox="1">
            <a:spLocks noChangeArrowheads="1"/>
          </p:cNvSpPr>
          <p:nvPr/>
        </p:nvSpPr>
        <p:spPr bwMode="auto">
          <a:xfrm>
            <a:off x="293875" y="2300097"/>
            <a:ext cx="4131809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defTabSz="895985">
              <a:defRPr/>
            </a:pPr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Руководитель ПСР-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: </a:t>
            </a:r>
            <a:r>
              <a:rPr lang="ru-RU" altLang="ru-RU" sz="1000" b="0" u="none" dirty="0">
                <a:solidFill>
                  <a:schemeClr val="tx1"/>
                </a:solidFill>
              </a:rPr>
              <a:t>Директор ОКУ «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ЦЗН города Щигры и Щигровского района» Моисеев П.Ю.</a:t>
            </a:r>
            <a:endParaRPr 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graphicFrame>
        <p:nvGraphicFramePr>
          <p:cNvPr id="49" name="Таблица 48"/>
          <p:cNvGraphicFramePr>
            <a:graphicFrameLocks noGrp="1"/>
          </p:cNvGraphicFramePr>
          <p:nvPr/>
        </p:nvGraphicFramePr>
        <p:xfrm>
          <a:off x="400430" y="4063596"/>
          <a:ext cx="3929089" cy="1006256"/>
        </p:xfrm>
        <a:graphic>
          <a:graphicData uri="http://schemas.openxmlformats.org/drawingml/2006/table">
            <a:tbl>
              <a:tblPr firstRow="1" bandRow="1"/>
              <a:tblGrid>
                <a:gridCol w="2007574"/>
                <a:gridCol w="961702"/>
                <a:gridCol w="959813"/>
              </a:tblGrid>
              <a:tr h="4350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Наименование цели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Текущи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Целево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ПП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45 дней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15 дней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0" name="TextBox 14"/>
          <p:cNvSpPr txBox="1">
            <a:spLocks noChangeArrowheads="1"/>
          </p:cNvSpPr>
          <p:nvPr/>
        </p:nvSpPr>
        <p:spPr bwMode="auto">
          <a:xfrm>
            <a:off x="4586258" y="4063596"/>
            <a:ext cx="4178089" cy="15081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Старт проекта	14.07.2021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Картирование текущего состояния процессов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: 	15.07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08280" lvl="0" indent="-20828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   Разработка целевого состояния и плана </a:t>
            </a:r>
            <a:b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мероприятий:	 16.07.2021 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   Проведение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Kick-off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	23.07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5.   Реализация мероприятий проекта: 	 30.11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6.   Закрепление результатов и закрытие проекта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	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24.12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РС-проект</a:t>
            </a: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: «Оптимизация процедуры</a:t>
            </a:r>
            <a:b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одготовки к ярмарке вакансий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495043" y="4939846"/>
            <a:ext cx="4436997" cy="18651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родолжительный </a:t>
            </a:r>
            <a:r>
              <a:rPr lang="ru-RU" sz="16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ериод определения даты, времени и места проведения.</a:t>
            </a:r>
            <a:endParaRPr lang="ru-RU" sz="16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Длительный </a:t>
            </a:r>
            <a:r>
              <a:rPr lang="ru-RU" sz="16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ериод подбора участников ярмарки и уточнения категорий участников.</a:t>
            </a:r>
            <a:endParaRPr lang="ru-RU" sz="16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Число </a:t>
            </a:r>
            <a:r>
              <a:rPr lang="ru-RU" sz="16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взаимодействий заявителя со специалистами центра занятости от момента подачи заявления до получения результата равно трем. </a:t>
            </a:r>
            <a:endParaRPr lang="ru-RU" sz="16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2154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Проблемы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>
            <a:off x="501743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Взрыв: 14 точек 2"/>
          <p:cNvSpPr/>
          <p:nvPr/>
        </p:nvSpPr>
        <p:spPr>
          <a:xfrm>
            <a:off x="443485" y="4320214"/>
            <a:ext cx="672131" cy="315096"/>
          </a:xfrm>
          <a:prstGeom prst="irregularSeal2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720706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ВПП текущее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9" name="Прямая соединительная линия 138"/>
          <p:cNvCxnSpPr/>
          <p:nvPr/>
        </p:nvCxnSpPr>
        <p:spPr>
          <a:xfrm>
            <a:off x="5470295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F:\Downloads\2022-03-03_17-44-1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563" y="1196752"/>
            <a:ext cx="5937765" cy="3043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F:\Downloads\2022-03-03_17-45-5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4762500"/>
            <a:ext cx="2435489" cy="1893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Оптимизация процедуры</a:t>
            </a:r>
            <a:b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одготовки к ярмарке вакансий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26859" y="951486"/>
            <a:ext cx="8071738" cy="245266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200" dirty="0">
                <a:solidFill>
                  <a:srgbClr val="2E658E"/>
                </a:solidFill>
              </a:rPr>
              <a:t>Исходное состояние </a:t>
            </a:r>
            <a:r>
              <a:rPr lang="ru-RU" sz="1200" dirty="0" smtClean="0">
                <a:solidFill>
                  <a:srgbClr val="2E658E"/>
                </a:solidFill>
              </a:rPr>
              <a:t>процесса</a:t>
            </a:r>
            <a:endParaRPr lang="ru-RU" sz="1200" dirty="0" smtClean="0">
              <a:solidFill>
                <a:srgbClr val="2E658E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Прямая соединительная линия 47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Оптимизация процедуры</a:t>
            </a:r>
            <a:b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одготовки к ярмарке вакансий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9420" y="983063"/>
            <a:ext cx="77768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>
                <a:solidFill>
                  <a:srgbClr val="2E658E"/>
                </a:solidFill>
              </a:rPr>
              <a:t>Мероприятия для реализации </a:t>
            </a:r>
            <a:r>
              <a:rPr lang="ru-RU" sz="1700" b="1" dirty="0" smtClean="0">
                <a:solidFill>
                  <a:srgbClr val="2E658E"/>
                </a:solidFill>
              </a:rPr>
              <a:t>проекта</a:t>
            </a:r>
            <a:endParaRPr lang="ru-RU" sz="1700" b="1" dirty="0">
              <a:solidFill>
                <a:srgbClr val="2E658E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95536" y="1556792"/>
          <a:ext cx="8352928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82343"/>
                <a:gridCol w="1670585"/>
              </a:tblGrid>
              <a:tr h="370840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/>
                        <a:t>Мероприятия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  <a:alpha val="96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/>
                        <a:t>Статус выполнения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75000"/>
                        <a:alpha val="96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Обновление состава процедуры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дготовки к ярмарке вакансий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Оформление обновленных процедур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дготовки к ярмарке вакансий в виде скрипта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тестирова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скрипта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анкетирова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заявителей и участников ярмарки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Доработка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(при необходимости) </a:t>
                      </a: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цедуры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несение предложения об изменении в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административный регламент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измене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 административный регламент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скрипта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 работу ЦЗН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анкеты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обратной связи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лучение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на регулярной основе </a:t>
                      </a: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обратной связи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у заявителей и участников ярмарки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495043" y="4939846"/>
            <a:ext cx="4436997" cy="19205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ериод 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одбора участников ярмарки вакансий и определение целевой группы участников остается неизменным, вместе с тем эта процедура реорганизована таким образом, чтобы заявитель не терял времени на ожидание подбора.</a:t>
            </a:r>
            <a:endParaRPr lang="ru-RU" sz="12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Дата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, время и место определяется заявителем заблаговременно, таким образом на этапе подготовки происходит уточнение указанных параметров при необходимости.</a:t>
            </a:r>
            <a:endParaRPr lang="ru-RU" sz="12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Число 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взаимодействий заявителя с сотрудниками ЦЗН снижено до двух, из них одно - по инициативе ЦЗН.</a:t>
            </a:r>
            <a:endParaRPr lang="ru-RU" sz="12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2154" y="4293096"/>
            <a:ext cx="201964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Решения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>
            <a:off x="501743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5720706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ВПП целевое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9" name="Прямая соединительная линия 138"/>
          <p:cNvCxnSpPr/>
          <p:nvPr/>
        </p:nvCxnSpPr>
        <p:spPr>
          <a:xfrm>
            <a:off x="5470295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1" name="Picture 3" descr="F:\Downloads\depositphotos_84568290-stock-illustration-exclamation-sign-flat-eco-gree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02"/>
          <a:stretch>
            <a:fillRect/>
          </a:stretch>
        </p:blipFill>
        <p:spPr bwMode="auto">
          <a:xfrm>
            <a:off x="473415" y="4282666"/>
            <a:ext cx="555089" cy="37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F:\Downloads\2022-03-03_17-48-0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378" y="1257988"/>
            <a:ext cx="5922950" cy="3036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F:\Downloads\2022-03-03_17-49-5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869160"/>
            <a:ext cx="2628900" cy="188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3"/>
          <p:cNvSpPr txBox="1">
            <a:spLocks noChangeArrowheads="1"/>
          </p:cNvSpPr>
          <p:nvPr/>
        </p:nvSpPr>
        <p:spPr bwMode="auto"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Оптимизация процедуры</a:t>
            </a:r>
            <a:b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sz="2000" b="1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одготовки к ярмарке вакансий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5536" y="994991"/>
            <a:ext cx="8071738" cy="262997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200" dirty="0" smtClean="0">
                <a:solidFill>
                  <a:srgbClr val="2E658E"/>
                </a:solidFill>
              </a:rPr>
              <a:t>Целевое </a:t>
            </a:r>
            <a:r>
              <a:rPr lang="ru-RU" sz="1200" dirty="0">
                <a:solidFill>
                  <a:srgbClr val="2E658E"/>
                </a:solidFill>
              </a:rPr>
              <a:t>состояние </a:t>
            </a:r>
            <a:r>
              <a:rPr lang="ru-RU" sz="1200" dirty="0" smtClean="0">
                <a:solidFill>
                  <a:srgbClr val="2E658E"/>
                </a:solidFill>
              </a:rPr>
              <a:t>процесса</a:t>
            </a:r>
            <a:endParaRPr lang="ru-RU" sz="1200" dirty="0" smtClean="0">
              <a:solidFill>
                <a:srgbClr val="2E658E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47</Words>
  <Application>WPS Presentation</Application>
  <PresentationFormat>Экран (4:3)</PresentationFormat>
  <Paragraphs>130</Paragraphs>
  <Slides>5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0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5</vt:i4>
      </vt:variant>
    </vt:vector>
  </HeadingPairs>
  <TitlesOfParts>
    <vt:vector size="39" baseType="lpstr">
      <vt:lpstr>Arial</vt:lpstr>
      <vt:lpstr>SimSun</vt:lpstr>
      <vt:lpstr>Wingdings</vt:lpstr>
      <vt:lpstr>Arial</vt:lpstr>
      <vt:lpstr>Calibri</vt:lpstr>
      <vt:lpstr>Helvetica Neue</vt:lpstr>
      <vt:lpstr>Montserrat</vt:lpstr>
      <vt:lpstr>苹方-简</vt:lpstr>
      <vt:lpstr>Calibri</vt:lpstr>
      <vt:lpstr>微软雅黑</vt:lpstr>
      <vt:lpstr>汉仪旗黑</vt:lpstr>
      <vt:lpstr>Arial Unicode MS</vt:lpstr>
      <vt:lpstr>Calibri Light</vt:lpstr>
      <vt:lpstr>宋体-简</vt:lpstr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Тема Office</vt:lpstr>
      <vt:lpstr>5_b-default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alexander</cp:lastModifiedBy>
  <cp:revision>5214</cp:revision>
  <cp:lastPrinted>2022-07-25T13:31:47Z</cp:lastPrinted>
  <dcterms:created xsi:type="dcterms:W3CDTF">2022-07-25T13:31:47Z</dcterms:created>
  <dcterms:modified xsi:type="dcterms:W3CDTF">2022-07-25T13:3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FDFC25A4EEC44B95186AE3BA6EE45</vt:lpwstr>
  </property>
  <property fmtid="{D5CDD505-2E9C-101B-9397-08002B2CF9AE}" pid="3" name="KSOProductBuildVer">
    <vt:lpwstr>1033-3.2.0.6370</vt:lpwstr>
  </property>
</Properties>
</file>